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42" autoAdjust="0"/>
  </p:normalViewPr>
  <p:slideViewPr>
    <p:cSldViewPr snapToGrid="0">
      <p:cViewPr varScale="1">
        <p:scale>
          <a:sx n="99" d="100"/>
          <a:sy n="99" d="100"/>
        </p:scale>
        <p:origin x="858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4873</Words>
  <Application>Microsoft Office PowerPoint</Application>
  <PresentationFormat>Widescreen</PresentationFormat>
  <Paragraphs>568</Paragraphs>
  <Slides>21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ptos</vt:lpstr>
      <vt:lpstr>Arial</vt:lpstr>
      <vt:lpstr>Segoe UI</vt:lpstr>
      <vt:lpstr>Segoe UI </vt:lpstr>
      <vt:lpstr>Segoe UI Semibold</vt:lpstr>
      <vt:lpstr>Segoe UI Semilight</vt:lpstr>
      <vt:lpstr>Wingdings</vt:lpstr>
      <vt:lpstr>Light 16x9</vt:lpstr>
      <vt:lpstr>think-cell Slide</vt:lpstr>
      <vt:lpstr>Microsoft Scenario Library</vt:lpstr>
      <vt:lpstr>Top 10 to "Try First"</vt:lpstr>
      <vt:lpstr>AI value journey</vt:lpstr>
      <vt:lpstr>”Effort” level for each scenario  </vt:lpstr>
      <vt:lpstr>AI use cases for Customer Service</vt:lpstr>
      <vt:lpstr>AI Customer Service use cases</vt:lpstr>
      <vt:lpstr>AI use cases for Customer Service</vt:lpstr>
      <vt:lpstr>KPI – Calls handled by agents </vt:lpstr>
      <vt:lpstr>KPI – Issue resolution time </vt:lpstr>
      <vt:lpstr>KPI – First call resolution (FCR) </vt:lpstr>
      <vt:lpstr>KPI – Service quality scores </vt:lpstr>
      <vt:lpstr>KPI – Customer satisfaction score (CSAT)   </vt:lpstr>
      <vt:lpstr>Respond to a customer complaint (Copilot for Service)</vt:lpstr>
      <vt:lpstr>Respond to a customer complaint  (Microsoft 365 Copilot)</vt:lpstr>
      <vt:lpstr>Identify a root-cause</vt:lpstr>
      <vt:lpstr>Boost field efficiency</vt:lpstr>
      <vt:lpstr>Managing service agents</vt:lpstr>
      <vt:lpstr>Assist service advisors</vt:lpstr>
      <vt:lpstr>Communication Logging</vt:lpstr>
      <vt:lpstr>A day in the life of a Service agent</vt:lpstr>
      <vt:lpstr>A day in the life of a Customer Support Directo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5</cp:revision>
  <dcterms:created xsi:type="dcterms:W3CDTF">2024-09-25T15:39:48Z</dcterms:created>
  <dcterms:modified xsi:type="dcterms:W3CDTF">2025-04-13T19:5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